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39"/>
  </p:notesMasterIdLst>
  <p:sldIdLst>
    <p:sldId id="393" r:id="rId3"/>
    <p:sldId id="412" r:id="rId4"/>
    <p:sldId id="526" r:id="rId5"/>
    <p:sldId id="528" r:id="rId6"/>
    <p:sldId id="369" r:id="rId7"/>
    <p:sldId id="529" r:id="rId8"/>
    <p:sldId id="534" r:id="rId9"/>
    <p:sldId id="535" r:id="rId10"/>
    <p:sldId id="530" r:id="rId11"/>
    <p:sldId id="368" r:id="rId12"/>
    <p:sldId id="370" r:id="rId13"/>
    <p:sldId id="371" r:id="rId14"/>
    <p:sldId id="372" r:id="rId15"/>
    <p:sldId id="373" r:id="rId16"/>
    <p:sldId id="374" r:id="rId17"/>
    <p:sldId id="376" r:id="rId18"/>
    <p:sldId id="541" r:id="rId19"/>
    <p:sldId id="531" r:id="rId20"/>
    <p:sldId id="382" r:id="rId21"/>
    <p:sldId id="384" r:id="rId22"/>
    <p:sldId id="404" r:id="rId23"/>
    <p:sldId id="383" r:id="rId24"/>
    <p:sldId id="385" r:id="rId25"/>
    <p:sldId id="406" r:id="rId26"/>
    <p:sldId id="408" r:id="rId27"/>
    <p:sldId id="409" r:id="rId28"/>
    <p:sldId id="410" r:id="rId29"/>
    <p:sldId id="536" r:id="rId30"/>
    <p:sldId id="537" r:id="rId31"/>
    <p:sldId id="538" r:id="rId32"/>
    <p:sldId id="533" r:id="rId33"/>
    <p:sldId id="539" r:id="rId34"/>
    <p:sldId id="540" r:id="rId35"/>
    <p:sldId id="403" r:id="rId36"/>
    <p:sldId id="407" r:id="rId37"/>
    <p:sldId id="394" r:id="rId38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87119" autoAdjust="0"/>
  </p:normalViewPr>
  <p:slideViewPr>
    <p:cSldViewPr snapToGrid="0">
      <p:cViewPr varScale="1">
        <p:scale>
          <a:sx n="81" d="100"/>
          <a:sy n="81" d="100"/>
        </p:scale>
        <p:origin x="4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0E3D82-B7F3-4873-8509-7DF8366D3834}">
      <dgm:prSet custT="1"/>
      <dgm:spPr/>
      <dgm:t>
        <a:bodyPr/>
        <a:lstStyle/>
        <a:p>
          <a:r>
            <a:rPr lang="en-US" sz="1800" dirty="0"/>
            <a:t>SSIS is on-premises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 custT="1"/>
      <dgm:spPr/>
      <dgm:t>
        <a:bodyPr/>
        <a:lstStyle/>
        <a:p>
          <a:r>
            <a:rPr lang="en-US" sz="2000" dirty="0"/>
            <a:t>many up-front costs</a:t>
          </a:r>
        </a:p>
      </dgm:t>
    </dgm:pt>
    <dgm:pt modelId="{CB02B696-9DDD-4A35-BA8A-C24EC780771A}" type="parTrans" cxnId="{172B1094-F8A0-47B8-9D1C-AB95685D7511}">
      <dgm:prSet/>
      <dgm:spPr/>
      <dgm:t>
        <a:bodyPr/>
        <a:lstStyle/>
        <a:p>
          <a:endParaRPr lang="en-US"/>
        </a:p>
      </dgm:t>
    </dgm:pt>
    <dgm:pt modelId="{F47086AC-23EC-42CB-8A03-B0549371B351}" type="sibTrans" cxnId="{172B1094-F8A0-47B8-9D1C-AB95685D7511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 dirty="0"/>
            <a:t>server</a:t>
          </a:r>
        </a:p>
      </dgm:t>
    </dgm:pt>
    <dgm:pt modelId="{0A27BB42-20D7-4A14-A8CF-3CD6F996E7A8}" type="parTrans" cxnId="{2C514F2E-F6CF-433F-851F-8D7C8DEE3410}">
      <dgm:prSet/>
      <dgm:spPr/>
      <dgm:t>
        <a:bodyPr/>
        <a:lstStyle/>
        <a:p>
          <a:endParaRPr lang="en-US"/>
        </a:p>
      </dgm:t>
    </dgm:pt>
    <dgm:pt modelId="{9F9BE161-592B-4F31-8896-D0E18E242258}" type="sibTrans" cxnId="{2C514F2E-F6CF-433F-851F-8D7C8DEE3410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/>
            <a:t>license costs</a:t>
          </a:r>
        </a:p>
      </dgm:t>
    </dgm:pt>
    <dgm:pt modelId="{77261BA8-257F-474E-B0B8-C78A84F03D00}" type="parTrans" cxnId="{6E585C0A-55EF-44EF-9D6E-79B692672CF9}">
      <dgm:prSet/>
      <dgm:spPr/>
      <dgm:t>
        <a:bodyPr/>
        <a:lstStyle/>
        <a:p>
          <a:endParaRPr lang="en-US"/>
        </a:p>
      </dgm:t>
    </dgm:pt>
    <dgm:pt modelId="{5CC8276F-B6DF-4EF7-A40E-0503D39CF7DA}" type="sibTrans" cxnId="{6E585C0A-55EF-44EF-9D6E-79B692672CF9}">
      <dgm:prSet/>
      <dgm:spPr/>
      <dgm:t>
        <a:bodyPr/>
        <a:lstStyle/>
        <a:p>
          <a:endParaRPr lang="en-US"/>
        </a:p>
      </dgm:t>
    </dgm:pt>
    <dgm:pt modelId="{605B0E2B-614A-46ED-AFA4-8C0C9247FE01}">
      <dgm:prSet custT="1"/>
      <dgm:spPr/>
      <dgm:t>
        <a:bodyPr/>
        <a:lstStyle/>
        <a:p>
          <a:r>
            <a:rPr lang="en-US" sz="1600" dirty="0"/>
            <a:t>cost of installing / configuring</a:t>
          </a:r>
        </a:p>
      </dgm:t>
    </dgm:pt>
    <dgm:pt modelId="{7BDA8649-843D-4FD4-9FA2-192E9BFAAD42}" type="parTrans" cxnId="{95D06919-3AC9-4A8A-B81C-4CD1B74C6401}">
      <dgm:prSet/>
      <dgm:spPr/>
      <dgm:t>
        <a:bodyPr/>
        <a:lstStyle/>
        <a:p>
          <a:endParaRPr lang="en-US"/>
        </a:p>
      </dgm:t>
    </dgm:pt>
    <dgm:pt modelId="{66A01257-5ACF-40B0-8E40-59C064DF507F}" type="sibTrans" cxnId="{95D06919-3AC9-4A8A-B81C-4CD1B74C6401}">
      <dgm:prSet/>
      <dgm:spPr/>
      <dgm:t>
        <a:bodyPr/>
        <a:lstStyle/>
        <a:p>
          <a:endParaRPr lang="en-US"/>
        </a:p>
      </dgm:t>
    </dgm:pt>
    <dgm:pt modelId="{06A792C8-0777-4016-9504-9177E538A34C}">
      <dgm:prSet custT="1"/>
      <dgm:spPr/>
      <dgm:t>
        <a:bodyPr/>
        <a:lstStyle/>
        <a:p>
          <a:r>
            <a:rPr lang="en-US" sz="1800" dirty="0"/>
            <a:t>not many running costs</a:t>
          </a:r>
        </a:p>
      </dgm:t>
    </dgm:pt>
    <dgm:pt modelId="{75F5934D-00AA-4D60-BA42-A5F95090841F}" type="parTrans" cxnId="{0176A22E-0A4E-462D-B3A5-CBAE12683B6C}">
      <dgm:prSet/>
      <dgm:spPr/>
      <dgm:t>
        <a:bodyPr/>
        <a:lstStyle/>
        <a:p>
          <a:endParaRPr lang="en-US"/>
        </a:p>
      </dgm:t>
    </dgm:pt>
    <dgm:pt modelId="{4B81BD0E-E802-4D60-9D8D-564DD04988EE}" type="sibTrans" cxnId="{0176A22E-0A4E-462D-B3A5-CBAE12683B6C}">
      <dgm:prSet/>
      <dgm:spPr/>
      <dgm:t>
        <a:bodyPr/>
        <a:lstStyle/>
        <a:p>
          <a:endParaRPr lang="en-US"/>
        </a:p>
      </dgm:t>
    </dgm:pt>
    <dgm:pt modelId="{7F858C5F-9258-4144-929A-7BB6E01F8933}">
      <dgm:prSet/>
      <dgm:spPr/>
      <dgm:t>
        <a:bodyPr/>
        <a:lstStyle/>
        <a:p>
          <a:r>
            <a:rPr lang="en-US" dirty="0"/>
            <a:t>maintenance</a:t>
          </a:r>
        </a:p>
      </dgm:t>
    </dgm:pt>
    <dgm:pt modelId="{AD1865FB-7A50-408A-8653-9E4B75B17BA1}" type="parTrans" cxnId="{75DF25B2-C8F2-4689-979B-6E0DD67517B6}">
      <dgm:prSet/>
      <dgm:spPr/>
      <dgm:t>
        <a:bodyPr/>
        <a:lstStyle/>
        <a:p>
          <a:endParaRPr lang="en-US"/>
        </a:p>
      </dgm:t>
    </dgm:pt>
    <dgm:pt modelId="{894A2CB4-E82A-4B9F-8EEC-4DE8847C75EA}" type="sibTrans" cxnId="{75DF25B2-C8F2-4689-979B-6E0DD67517B6}">
      <dgm:prSet/>
      <dgm:spPr/>
      <dgm:t>
        <a:bodyPr/>
        <a:lstStyle/>
        <a:p>
          <a:endParaRPr lang="en-US"/>
        </a:p>
      </dgm:t>
    </dgm:pt>
    <dgm:pt modelId="{90EEB202-87EA-44E7-B4D7-8AAB69C6E065}">
      <dgm:prSet/>
      <dgm:spPr/>
      <dgm:t>
        <a:bodyPr/>
        <a:lstStyle/>
        <a:p>
          <a:r>
            <a:rPr lang="en-US" dirty="0"/>
            <a:t>development</a:t>
          </a:r>
        </a:p>
      </dgm:t>
    </dgm:pt>
    <dgm:pt modelId="{B406D155-9177-45AC-91D6-01087EC17A47}" type="parTrans" cxnId="{05A49301-2091-4CDB-BF74-7AFFFF1820BD}">
      <dgm:prSet/>
      <dgm:spPr/>
      <dgm:t>
        <a:bodyPr/>
        <a:lstStyle/>
        <a:p>
          <a:endParaRPr lang="en-US"/>
        </a:p>
      </dgm:t>
    </dgm:pt>
    <dgm:pt modelId="{6286B985-01D3-4034-8897-AF89E4296694}" type="sibTrans" cxnId="{05A49301-2091-4CDB-BF74-7AFFFF1820BD}">
      <dgm:prSet/>
      <dgm:spPr/>
      <dgm:t>
        <a:bodyPr/>
        <a:lstStyle/>
        <a:p>
          <a:endParaRPr lang="en-US"/>
        </a:p>
      </dgm:t>
    </dgm:pt>
    <dgm:pt modelId="{0ED74E8B-ED34-4C9C-9ADC-7077B6DEAB33}">
      <dgm:prSet/>
      <dgm:spPr/>
      <dgm:t>
        <a:bodyPr/>
        <a:lstStyle/>
        <a:p>
          <a:r>
            <a:rPr lang="en-US"/>
            <a:t>“electricity”</a:t>
          </a:r>
        </a:p>
      </dgm:t>
    </dgm:pt>
    <dgm:pt modelId="{DC32365E-B6F9-4ABD-ACA7-6E6D47795E13}" type="parTrans" cxnId="{C55BDA17-2866-41A3-83DD-E9E281CED45B}">
      <dgm:prSet/>
      <dgm:spPr/>
      <dgm:t>
        <a:bodyPr/>
        <a:lstStyle/>
        <a:p>
          <a:endParaRPr lang="en-US"/>
        </a:p>
      </dgm:t>
    </dgm:pt>
    <dgm:pt modelId="{1705F0F7-BA36-4DAE-8519-0415C9AC9C6A}" type="sibTrans" cxnId="{C55BDA17-2866-41A3-83DD-E9E281CED45B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/>
            <a:t>it doesn’t matter how many packages you run</a:t>
          </a:r>
        </a:p>
      </dgm:t>
    </dgm:pt>
    <dgm:pt modelId="{6B7BB72A-552F-4599-8ABC-292EF991FA32}" type="parTrans" cxnId="{44883F3D-D7D7-4CFD-825F-9266E4E10EA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44883F3D-D7D7-4CFD-825F-9266E4E10EAB}">
      <dgm:prSet/>
      <dgm:spPr/>
      <dgm:t>
        <a:bodyPr/>
        <a:lstStyle/>
        <a:p>
          <a:endParaRPr lang="en-US"/>
        </a:p>
      </dgm:t>
    </dgm:pt>
    <dgm:pt modelId="{6E2D7C2D-912D-4836-8DBB-D67EEBC71320}">
      <dgm:prSet/>
      <dgm:spPr/>
      <dgm:t>
        <a:bodyPr/>
        <a:lstStyle/>
        <a:p>
          <a:r>
            <a:rPr lang="en-US" dirty="0"/>
            <a:t>or how many tasks there are in a package</a:t>
          </a:r>
        </a:p>
      </dgm:t>
    </dgm:pt>
    <dgm:pt modelId="{D4191D7F-6333-4CE8-83BF-36C68C98993E}" type="parTrans" cxnId="{479FB4F9-6C6B-40F3-99FB-D166CFF5C886}">
      <dgm:prSet/>
      <dgm:spPr/>
      <dgm:t>
        <a:bodyPr/>
        <a:lstStyle/>
        <a:p>
          <a:endParaRPr lang="en-US"/>
        </a:p>
      </dgm:t>
    </dgm:pt>
    <dgm:pt modelId="{E300E729-22D0-47C9-AA76-4DA6D32CD199}" type="sibTrans" cxnId="{479FB4F9-6C6B-40F3-99FB-D166CFF5C886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05A49301-2091-4CDB-BF74-7AFFFF1820BD}" srcId="{06A792C8-0777-4016-9504-9177E538A34C}" destId="{90EEB202-87EA-44E7-B4D7-8AAB69C6E065}" srcOrd="1" destOrd="0" parTransId="{B406D155-9177-45AC-91D6-01087EC17A47}" sibTransId="{6286B985-01D3-4034-8897-AF89E4296694}"/>
    <dgm:cxn modelId="{887B0406-FCE5-4887-B2FA-65DA65F6A14E}" type="presOf" srcId="{06A792C8-0777-4016-9504-9177E538A34C}" destId="{8DE01CD8-C087-43DD-99BD-FD523B4F5919}" srcOrd="0" destOrd="0" presId="urn:microsoft.com/office/officeart/2005/8/layout/vList5"/>
    <dgm:cxn modelId="{6E585C0A-55EF-44EF-9D6E-79B692672CF9}" srcId="{035B71F4-E9DE-4DD6-802B-3424F5E63367}" destId="{8189AA6B-2750-459F-B971-8EE86A8BBDCB}" srcOrd="1" destOrd="0" parTransId="{77261BA8-257F-474E-B0B8-C78A84F03D00}" sibTransId="{5CC8276F-B6DF-4EF7-A40E-0503D39CF7DA}"/>
    <dgm:cxn modelId="{C55BDA17-2866-41A3-83DD-E9E281CED45B}" srcId="{06A792C8-0777-4016-9504-9177E538A34C}" destId="{0ED74E8B-ED34-4C9C-9ADC-7077B6DEAB33}" srcOrd="2" destOrd="0" parTransId="{DC32365E-B6F9-4ABD-ACA7-6E6D47795E13}" sibTransId="{1705F0F7-BA36-4DAE-8519-0415C9AC9C6A}"/>
    <dgm:cxn modelId="{95D06919-3AC9-4A8A-B81C-4CD1B74C6401}" srcId="{035B71F4-E9DE-4DD6-802B-3424F5E63367}" destId="{605B0E2B-614A-46ED-AFA4-8C0C9247FE01}" srcOrd="2" destOrd="0" parTransId="{7BDA8649-843D-4FD4-9FA2-192E9BFAAD42}" sibTransId="{66A01257-5ACF-40B0-8E40-59C064DF507F}"/>
    <dgm:cxn modelId="{E17B352A-BE88-4C86-ACD9-A0DCCEC77F77}" type="presOf" srcId="{E87BCB89-76E3-4608-A313-8FB5187E8CBC}" destId="{32328D53-2A8B-44CD-B78D-A667B28B52D8}" srcOrd="0" destOrd="0" presId="urn:microsoft.com/office/officeart/2005/8/layout/vList5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2C514F2E-F6CF-433F-851F-8D7C8DEE3410}" srcId="{035B71F4-E9DE-4DD6-802B-3424F5E63367}" destId="{A28DD5D1-73C3-4475-866B-5737678358A6}" srcOrd="0" destOrd="0" parTransId="{0A27BB42-20D7-4A14-A8CF-3CD6F996E7A8}" sibTransId="{9F9BE161-592B-4F31-8896-D0E18E242258}"/>
    <dgm:cxn modelId="{0176A22E-0A4E-462D-B3A5-CBAE12683B6C}" srcId="{6755A229-8E1A-40D6-AA65-70E6EE03E666}" destId="{06A792C8-0777-4016-9504-9177E538A34C}" srcOrd="2" destOrd="0" parTransId="{75F5934D-00AA-4D60-BA42-A5F95090841F}" sibTransId="{4B81BD0E-E802-4D60-9D8D-564DD04988EE}"/>
    <dgm:cxn modelId="{44883F3D-D7D7-4CFD-825F-9266E4E10EAB}" srcId="{6755A229-8E1A-40D6-AA65-70E6EE03E666}" destId="{E87BCB89-76E3-4608-A313-8FB5187E8CBC}" srcOrd="3" destOrd="0" parTransId="{6B7BB72A-552F-4599-8ABC-292EF991FA32}" sibTransId="{7FAD7197-895A-4D56-A089-9449711ECE9D}"/>
    <dgm:cxn modelId="{6228AF44-733C-4CFE-8F37-F18D29BE31D1}" type="presOf" srcId="{035B71F4-E9DE-4DD6-802B-3424F5E63367}" destId="{4B753C60-2ACA-40EB-B05B-22B09677C519}" srcOrd="0" destOrd="0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84EA7B84-9CD9-4E6B-8A60-19AEBBC44C34}" type="presOf" srcId="{90EEB202-87EA-44E7-B4D7-8AAB69C6E065}" destId="{DD9FB6B3-426A-4B65-9B6B-2321EC96BC13}" srcOrd="0" destOrd="1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33C1B489-E6DE-490F-A9E9-017209D8AF15}" type="presOf" srcId="{605B0E2B-614A-46ED-AFA4-8C0C9247FE01}" destId="{9D5F7959-E9A2-4AEA-9669-1B22392730F5}" srcOrd="0" destOrd="2" presId="urn:microsoft.com/office/officeart/2005/8/layout/vList5"/>
    <dgm:cxn modelId="{6FC67393-E916-4A40-AA08-7381A0FFAD95}" type="presOf" srcId="{7F858C5F-9258-4144-929A-7BB6E01F8933}" destId="{DD9FB6B3-426A-4B65-9B6B-2321EC96BC13}" srcOrd="0" destOrd="0" presId="urn:microsoft.com/office/officeart/2005/8/layout/vList5"/>
    <dgm:cxn modelId="{172B1094-F8A0-47B8-9D1C-AB95685D7511}" srcId="{6755A229-8E1A-40D6-AA65-70E6EE03E666}" destId="{035B71F4-E9DE-4DD6-802B-3424F5E63367}" srcOrd="1" destOrd="0" parTransId="{CB02B696-9DDD-4A35-BA8A-C24EC780771A}" sibTransId="{F47086AC-23EC-42CB-8A03-B0549371B351}"/>
    <dgm:cxn modelId="{75DF25B2-C8F2-4689-979B-6E0DD67517B6}" srcId="{06A792C8-0777-4016-9504-9177E538A34C}" destId="{7F858C5F-9258-4144-929A-7BB6E01F8933}" srcOrd="0" destOrd="0" parTransId="{AD1865FB-7A50-408A-8653-9E4B75B17BA1}" sibTransId="{894A2CB4-E82A-4B9F-8EEC-4DE8847C75EA}"/>
    <dgm:cxn modelId="{6EC852B5-76FF-4FDD-9CF9-CA970418790F}" type="presOf" srcId="{0ED74E8B-ED34-4C9C-9ADC-7077B6DEAB33}" destId="{DD9FB6B3-426A-4B65-9B6B-2321EC96BC13}" srcOrd="0" destOrd="2" presId="urn:microsoft.com/office/officeart/2005/8/layout/vList5"/>
    <dgm:cxn modelId="{5558E1C1-BF26-42D8-B54E-8A75E04AE8E4}" type="presOf" srcId="{6E2D7C2D-912D-4836-8DBB-D67EEBC71320}" destId="{98AC3D14-23A1-48DC-A6A5-DDA104FEF57D}" srcOrd="0" destOrd="0" presId="urn:microsoft.com/office/officeart/2005/8/layout/vList5"/>
    <dgm:cxn modelId="{19A23CD5-B890-4354-A7B4-671324E94208}" type="presOf" srcId="{8189AA6B-2750-459F-B971-8EE86A8BBDCB}" destId="{9D5F7959-E9A2-4AEA-9669-1B22392730F5}" srcOrd="0" destOrd="1" presId="urn:microsoft.com/office/officeart/2005/8/layout/vList5"/>
    <dgm:cxn modelId="{AA05F6E4-77AB-4BEA-B642-DD33FA3FDB0A}" type="presOf" srcId="{A28DD5D1-73C3-4475-866B-5737678358A6}" destId="{9D5F7959-E9A2-4AEA-9669-1B22392730F5}" srcOrd="0" destOrd="0" presId="urn:microsoft.com/office/officeart/2005/8/layout/vList5"/>
    <dgm:cxn modelId="{479FB4F9-6C6B-40F3-99FB-D166CFF5C886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7BE981E-FB19-402F-B144-EADE871FA043}" type="presParOf" srcId="{5EA87217-8003-42F8-921E-773E702D2B04}" destId="{B84DCC5B-7B1A-4753-AECF-702A3158D543}" srcOrd="1" destOrd="0" presId="urn:microsoft.com/office/officeart/2005/8/layout/vList5"/>
    <dgm:cxn modelId="{676608FF-B83E-4303-8A1A-FAB142D1288B}" type="presParOf" srcId="{5EA87217-8003-42F8-921E-773E702D2B04}" destId="{20CD0486-1742-412A-88C8-2A8C181117AE}" srcOrd="2" destOrd="0" presId="urn:microsoft.com/office/officeart/2005/8/layout/vList5"/>
    <dgm:cxn modelId="{3F85ACDE-FD04-4BA3-B391-EB3D0BA7E9D2}" type="presParOf" srcId="{20CD0486-1742-412A-88C8-2A8C181117AE}" destId="{4B753C60-2ACA-40EB-B05B-22B09677C519}" srcOrd="0" destOrd="0" presId="urn:microsoft.com/office/officeart/2005/8/layout/vList5"/>
    <dgm:cxn modelId="{774CAB14-D9C3-4B1A-A9DF-6C46DEA0EB63}" type="presParOf" srcId="{20CD0486-1742-412A-88C8-2A8C181117AE}" destId="{9D5F7959-E9A2-4AEA-9669-1B22392730F5}" srcOrd="1" destOrd="0" presId="urn:microsoft.com/office/officeart/2005/8/layout/vList5"/>
    <dgm:cxn modelId="{00A30582-DEF7-4501-826B-0ABCFC8CA551}" type="presParOf" srcId="{5EA87217-8003-42F8-921E-773E702D2B04}" destId="{E42F5F5B-785C-4C26-A70E-5FFA71CFAB3B}" srcOrd="3" destOrd="0" presId="urn:microsoft.com/office/officeart/2005/8/layout/vList5"/>
    <dgm:cxn modelId="{05DE8C56-CF0E-4EEB-A435-DEE3C1D317E8}" type="presParOf" srcId="{5EA87217-8003-42F8-921E-773E702D2B04}" destId="{C1074DB7-04E5-4032-89A4-95C700083969}" srcOrd="4" destOrd="0" presId="urn:microsoft.com/office/officeart/2005/8/layout/vList5"/>
    <dgm:cxn modelId="{F571B735-DF09-42AB-ACA3-7C3B7C4D803E}" type="presParOf" srcId="{C1074DB7-04E5-4032-89A4-95C700083969}" destId="{8DE01CD8-C087-43DD-99BD-FD523B4F5919}" srcOrd="0" destOrd="0" presId="urn:microsoft.com/office/officeart/2005/8/layout/vList5"/>
    <dgm:cxn modelId="{394B156A-FE09-47CF-835C-5F3EC49847B9}" type="presParOf" srcId="{C1074DB7-04E5-4032-89A4-95C700083969}" destId="{DD9FB6B3-426A-4B65-9B6B-2321EC96BC13}" srcOrd="1" destOrd="0" presId="urn:microsoft.com/office/officeart/2005/8/layout/vList5"/>
    <dgm:cxn modelId="{D842CE9A-158B-41EA-9F10-EE77134A7967}" type="presParOf" srcId="{5EA87217-8003-42F8-921E-773E702D2B04}" destId="{8E5B79DE-AACA-41F8-BC60-D948ADA7BA06}" srcOrd="5" destOrd="0" presId="urn:microsoft.com/office/officeart/2005/8/layout/vList5"/>
    <dgm:cxn modelId="{551CC993-E920-420D-A535-3F03F08EA530}" type="presParOf" srcId="{5EA87217-8003-42F8-921E-773E702D2B04}" destId="{CC6873B3-4555-4914-88B0-D6D79DB1B473}" srcOrd="6" destOrd="0" presId="urn:microsoft.com/office/officeart/2005/8/layout/vList5"/>
    <dgm:cxn modelId="{7F32FE8B-4F17-411C-8632-76EA2B4EC00A}" type="presParOf" srcId="{CC6873B3-4555-4914-88B0-D6D79DB1B473}" destId="{32328D53-2A8B-44CD-B78D-A667B28B52D8}" srcOrd="0" destOrd="0" presId="urn:microsoft.com/office/officeart/2005/8/layout/vList5"/>
    <dgm:cxn modelId="{BEBC2D51-B14C-44E3-A09B-017896DC4F0C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0E3D82-B7F3-4873-8509-7DF8366D3834}">
      <dgm:prSet/>
      <dgm:spPr/>
      <dgm:t>
        <a:bodyPr/>
        <a:lstStyle/>
        <a:p>
          <a:r>
            <a:rPr lang="en-US" dirty="0"/>
            <a:t>ADF is in the cloud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/>
      <dgm:spPr/>
      <dgm:t>
        <a:bodyPr/>
        <a:lstStyle/>
        <a:p>
          <a:r>
            <a:rPr lang="en-US" dirty="0"/>
            <a:t>SaaS: no up-front costs</a:t>
          </a:r>
        </a:p>
      </dgm:t>
    </dgm:pt>
    <dgm:pt modelId="{CB02B696-9DDD-4A35-BA8A-C24EC780771A}" type="parTrans" cxnId="{C60D63E9-0F74-468B-AC80-63B50CAA9AF8}">
      <dgm:prSet/>
      <dgm:spPr/>
      <dgm:t>
        <a:bodyPr/>
        <a:lstStyle/>
        <a:p>
          <a:endParaRPr lang="en-US"/>
        </a:p>
      </dgm:t>
    </dgm:pt>
    <dgm:pt modelId="{F47086AC-23EC-42CB-8A03-B0549371B351}" type="sibTrans" cxnId="{C60D63E9-0F74-468B-AC80-63B50CAA9AF8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 dirty="0"/>
            <a:t>maybe self-hosted IR</a:t>
          </a:r>
        </a:p>
      </dgm:t>
    </dgm:pt>
    <dgm:pt modelId="{0A27BB42-20D7-4A14-A8CF-3CD6F996E7A8}" type="parTrans" cxnId="{AE8FE325-2464-45F7-844D-E63D10EBA8F7}">
      <dgm:prSet/>
      <dgm:spPr/>
      <dgm:t>
        <a:bodyPr/>
        <a:lstStyle/>
        <a:p>
          <a:endParaRPr lang="en-US"/>
        </a:p>
      </dgm:t>
    </dgm:pt>
    <dgm:pt modelId="{9F9BE161-592B-4F31-8896-D0E18E242258}" type="sibTrans" cxnId="{AE8FE325-2464-45F7-844D-E63D10EBA8F7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 dirty="0"/>
            <a:t>no license costs</a:t>
          </a:r>
        </a:p>
      </dgm:t>
    </dgm:pt>
    <dgm:pt modelId="{77261BA8-257F-474E-B0B8-C78A84F03D00}" type="parTrans" cxnId="{17D3A13C-E7B9-4CF0-9744-52899B084C25}">
      <dgm:prSet/>
      <dgm:spPr/>
      <dgm:t>
        <a:bodyPr/>
        <a:lstStyle/>
        <a:p>
          <a:endParaRPr lang="en-US"/>
        </a:p>
      </dgm:t>
    </dgm:pt>
    <dgm:pt modelId="{5CC8276F-B6DF-4EF7-A40E-0503D39CF7DA}" type="sibTrans" cxnId="{17D3A13C-E7B9-4CF0-9744-52899B084C25}">
      <dgm:prSet/>
      <dgm:spPr/>
      <dgm:t>
        <a:bodyPr/>
        <a:lstStyle/>
        <a:p>
          <a:endParaRPr lang="en-US"/>
        </a:p>
      </dgm:t>
    </dgm:pt>
    <dgm:pt modelId="{06A792C8-0777-4016-9504-9177E538A34C}">
      <dgm:prSet/>
      <dgm:spPr/>
      <dgm:t>
        <a:bodyPr/>
        <a:lstStyle/>
        <a:p>
          <a:r>
            <a:rPr lang="en-US" dirty="0"/>
            <a:t>many running costs</a:t>
          </a:r>
        </a:p>
      </dgm:t>
    </dgm:pt>
    <dgm:pt modelId="{75F5934D-00AA-4D60-BA42-A5F95090841F}" type="parTrans" cxnId="{358BA3A0-E46C-43EE-BC20-436583AA3F87}">
      <dgm:prSet/>
      <dgm:spPr/>
      <dgm:t>
        <a:bodyPr/>
        <a:lstStyle/>
        <a:p>
          <a:endParaRPr lang="en-US"/>
        </a:p>
      </dgm:t>
    </dgm:pt>
    <dgm:pt modelId="{4B81BD0E-E802-4D60-9D8D-564DD04988EE}" type="sibTrans" cxnId="{358BA3A0-E46C-43EE-BC20-436583AA3F87}">
      <dgm:prSet/>
      <dgm:spPr/>
      <dgm:t>
        <a:bodyPr/>
        <a:lstStyle/>
        <a:p>
          <a:endParaRPr lang="en-US"/>
        </a:p>
      </dgm:t>
    </dgm:pt>
    <dgm:pt modelId="{7F858C5F-9258-4144-929A-7BB6E01F8933}">
      <dgm:prSet custT="1"/>
      <dgm:spPr/>
      <dgm:t>
        <a:bodyPr/>
        <a:lstStyle/>
        <a:p>
          <a:r>
            <a:rPr lang="en-US" sz="1600" dirty="0"/>
            <a:t>compute cost per minute</a:t>
          </a:r>
        </a:p>
      </dgm:t>
    </dgm:pt>
    <dgm:pt modelId="{AD1865FB-7A50-408A-8653-9E4B75B17BA1}" type="parTrans" cxnId="{B0404C90-1C2D-4307-A007-64A5FC7EE7A9}">
      <dgm:prSet/>
      <dgm:spPr/>
      <dgm:t>
        <a:bodyPr/>
        <a:lstStyle/>
        <a:p>
          <a:endParaRPr lang="en-US"/>
        </a:p>
      </dgm:t>
    </dgm:pt>
    <dgm:pt modelId="{894A2CB4-E82A-4B9F-8EEC-4DE8847C75EA}" type="sibTrans" cxnId="{B0404C90-1C2D-4307-A007-64A5FC7EE7A9}">
      <dgm:prSet/>
      <dgm:spPr/>
      <dgm:t>
        <a:bodyPr/>
        <a:lstStyle/>
        <a:p>
          <a:endParaRPr lang="en-US"/>
        </a:p>
      </dgm:t>
    </dgm:pt>
    <dgm:pt modelId="{90EEB202-87EA-44E7-B4D7-8AAB69C6E065}">
      <dgm:prSet custT="1"/>
      <dgm:spPr/>
      <dgm:t>
        <a:bodyPr/>
        <a:lstStyle/>
        <a:p>
          <a:r>
            <a:rPr lang="en-US" sz="1600" dirty="0"/>
            <a:t>development</a:t>
          </a:r>
        </a:p>
      </dgm:t>
    </dgm:pt>
    <dgm:pt modelId="{B406D155-9177-45AC-91D6-01087EC17A47}" type="parTrans" cxnId="{925CBBA6-D243-4978-887B-253B6CA15005}">
      <dgm:prSet/>
      <dgm:spPr/>
      <dgm:t>
        <a:bodyPr/>
        <a:lstStyle/>
        <a:p>
          <a:endParaRPr lang="en-US"/>
        </a:p>
      </dgm:t>
    </dgm:pt>
    <dgm:pt modelId="{6286B985-01D3-4034-8897-AF89E4296694}" type="sibTrans" cxnId="{925CBBA6-D243-4978-887B-253B6CA15005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 dirty="0"/>
            <a:t># of activities has significant impact</a:t>
          </a:r>
        </a:p>
      </dgm:t>
    </dgm:pt>
    <dgm:pt modelId="{6B7BB72A-552F-4599-8ABC-292EF991FA32}" type="parTrans" cxnId="{22089D22-E7F4-4C91-B0FF-C2439539485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22089D22-E7F4-4C91-B0FF-C2439539485B}">
      <dgm:prSet/>
      <dgm:spPr/>
      <dgm:t>
        <a:bodyPr/>
        <a:lstStyle/>
        <a:p>
          <a:endParaRPr lang="en-US"/>
        </a:p>
      </dgm:t>
    </dgm:pt>
    <dgm:pt modelId="{6E2D7C2D-912D-4836-8DBB-D67EEBC71320}">
      <dgm:prSet custT="1"/>
      <dgm:spPr/>
      <dgm:t>
        <a:bodyPr/>
        <a:lstStyle/>
        <a:p>
          <a:r>
            <a:rPr lang="en-US" sz="1600" dirty="0"/>
            <a:t>and how long they run</a:t>
          </a:r>
        </a:p>
      </dgm:t>
    </dgm:pt>
    <dgm:pt modelId="{D4191D7F-6333-4CE8-83BF-36C68C98993E}" type="parTrans" cxnId="{D1F494F6-397F-4B51-BE3F-BAA43E761151}">
      <dgm:prSet/>
      <dgm:spPr/>
      <dgm:t>
        <a:bodyPr/>
        <a:lstStyle/>
        <a:p>
          <a:endParaRPr lang="en-US"/>
        </a:p>
      </dgm:t>
    </dgm:pt>
    <dgm:pt modelId="{E300E729-22D0-47C9-AA76-4DA6D32CD199}" type="sibTrans" cxnId="{D1F494F6-397F-4B51-BE3F-BAA43E761151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792EAB05-64FF-44E9-B6D2-6BF2BCC87358}" type="presOf" srcId="{06A792C8-0777-4016-9504-9177E538A34C}" destId="{8DE01CD8-C087-43DD-99BD-FD523B4F5919}" srcOrd="0" destOrd="0" presId="urn:microsoft.com/office/officeart/2005/8/layout/vList5"/>
    <dgm:cxn modelId="{CF189E11-A3E1-4762-9B23-C72CDC8EAAEE}" type="presOf" srcId="{A28DD5D1-73C3-4475-866B-5737678358A6}" destId="{9D5F7959-E9A2-4AEA-9669-1B22392730F5}" srcOrd="0" destOrd="0" presId="urn:microsoft.com/office/officeart/2005/8/layout/vList5"/>
    <dgm:cxn modelId="{22089D22-E7F4-4C91-B0FF-C2439539485B}" srcId="{6755A229-8E1A-40D6-AA65-70E6EE03E666}" destId="{E87BCB89-76E3-4608-A313-8FB5187E8CBC}" srcOrd="3" destOrd="0" parTransId="{6B7BB72A-552F-4599-8ABC-292EF991FA32}" sibTransId="{7FAD7197-895A-4D56-A089-9449711ECE9D}"/>
    <dgm:cxn modelId="{AE8FE325-2464-45F7-844D-E63D10EBA8F7}" srcId="{035B71F4-E9DE-4DD6-802B-3424F5E63367}" destId="{A28DD5D1-73C3-4475-866B-5737678358A6}" srcOrd="0" destOrd="0" parTransId="{0A27BB42-20D7-4A14-A8CF-3CD6F996E7A8}" sibTransId="{9F9BE161-592B-4F31-8896-D0E18E242258}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17D3A13C-E7B9-4CF0-9744-52899B084C25}" srcId="{035B71F4-E9DE-4DD6-802B-3424F5E63367}" destId="{8189AA6B-2750-459F-B971-8EE86A8BBDCB}" srcOrd="1" destOrd="0" parTransId="{77261BA8-257F-474E-B0B8-C78A84F03D00}" sibTransId="{5CC8276F-B6DF-4EF7-A40E-0503D39CF7DA}"/>
    <dgm:cxn modelId="{1A7BB344-97FF-4C6B-8F94-4F591659258F}" type="presOf" srcId="{90EEB202-87EA-44E7-B4D7-8AAB69C6E065}" destId="{DD9FB6B3-426A-4B65-9B6B-2321EC96BC13}" srcOrd="0" destOrd="1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6D686574-FBA7-4307-BEE0-57BA48F31230}" type="presOf" srcId="{035B71F4-E9DE-4DD6-802B-3424F5E63367}" destId="{4B753C60-2ACA-40EB-B05B-22B09677C519}" srcOrd="0" destOrd="0" presId="urn:microsoft.com/office/officeart/2005/8/layout/vList5"/>
    <dgm:cxn modelId="{46635A57-2D05-4FD0-81FC-633E87CE846D}" type="presOf" srcId="{E87BCB89-76E3-4608-A313-8FB5187E8CBC}" destId="{32328D53-2A8B-44CD-B78D-A667B28B52D8}" srcOrd="0" destOrd="0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4519FD8E-A6F1-495E-BEDE-28EA5FC80846}" type="presOf" srcId="{6E2D7C2D-912D-4836-8DBB-D67EEBC71320}" destId="{98AC3D14-23A1-48DC-A6A5-DDA104FEF57D}" srcOrd="0" destOrd="0" presId="urn:microsoft.com/office/officeart/2005/8/layout/vList5"/>
    <dgm:cxn modelId="{B0404C90-1C2D-4307-A007-64A5FC7EE7A9}" srcId="{06A792C8-0777-4016-9504-9177E538A34C}" destId="{7F858C5F-9258-4144-929A-7BB6E01F8933}" srcOrd="0" destOrd="0" parTransId="{AD1865FB-7A50-408A-8653-9E4B75B17BA1}" sibTransId="{894A2CB4-E82A-4B9F-8EEC-4DE8847C75EA}"/>
    <dgm:cxn modelId="{358BA3A0-E46C-43EE-BC20-436583AA3F87}" srcId="{6755A229-8E1A-40D6-AA65-70E6EE03E666}" destId="{06A792C8-0777-4016-9504-9177E538A34C}" srcOrd="2" destOrd="0" parTransId="{75F5934D-00AA-4D60-BA42-A5F95090841F}" sibTransId="{4B81BD0E-E802-4D60-9D8D-564DD04988EE}"/>
    <dgm:cxn modelId="{925CBBA6-D243-4978-887B-253B6CA15005}" srcId="{06A792C8-0777-4016-9504-9177E538A34C}" destId="{90EEB202-87EA-44E7-B4D7-8AAB69C6E065}" srcOrd="1" destOrd="0" parTransId="{B406D155-9177-45AC-91D6-01087EC17A47}" sibTransId="{6286B985-01D3-4034-8897-AF89E4296694}"/>
    <dgm:cxn modelId="{8E59E5CD-7AC2-4DB9-892E-46E495D68574}" type="presOf" srcId="{7F858C5F-9258-4144-929A-7BB6E01F8933}" destId="{DD9FB6B3-426A-4B65-9B6B-2321EC96BC13}" srcOrd="0" destOrd="0" presId="urn:microsoft.com/office/officeart/2005/8/layout/vList5"/>
    <dgm:cxn modelId="{AF2060E1-A317-442C-8413-224FBE89870B}" type="presOf" srcId="{8189AA6B-2750-459F-B971-8EE86A8BBDCB}" destId="{9D5F7959-E9A2-4AEA-9669-1B22392730F5}" srcOrd="0" destOrd="1" presId="urn:microsoft.com/office/officeart/2005/8/layout/vList5"/>
    <dgm:cxn modelId="{C60D63E9-0F74-468B-AC80-63B50CAA9AF8}" srcId="{6755A229-8E1A-40D6-AA65-70E6EE03E666}" destId="{035B71F4-E9DE-4DD6-802B-3424F5E63367}" srcOrd="1" destOrd="0" parTransId="{CB02B696-9DDD-4A35-BA8A-C24EC780771A}" sibTransId="{F47086AC-23EC-42CB-8A03-B0549371B351}"/>
    <dgm:cxn modelId="{D1F494F6-397F-4B51-BE3F-BAA43E761151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2CDB906-0881-448E-9E16-4ADE389A96E5}" type="presParOf" srcId="{5EA87217-8003-42F8-921E-773E702D2B04}" destId="{B84DCC5B-7B1A-4753-AECF-702A3158D543}" srcOrd="1" destOrd="0" presId="urn:microsoft.com/office/officeart/2005/8/layout/vList5"/>
    <dgm:cxn modelId="{69245148-32FA-4BA8-BE01-3DC356B33CC5}" type="presParOf" srcId="{5EA87217-8003-42F8-921E-773E702D2B04}" destId="{20CD0486-1742-412A-88C8-2A8C181117AE}" srcOrd="2" destOrd="0" presId="urn:microsoft.com/office/officeart/2005/8/layout/vList5"/>
    <dgm:cxn modelId="{E7822189-BE87-413D-AD8E-A9941697208A}" type="presParOf" srcId="{20CD0486-1742-412A-88C8-2A8C181117AE}" destId="{4B753C60-2ACA-40EB-B05B-22B09677C519}" srcOrd="0" destOrd="0" presId="urn:microsoft.com/office/officeart/2005/8/layout/vList5"/>
    <dgm:cxn modelId="{98404F6E-F722-49D7-9C0A-9094A5754A8E}" type="presParOf" srcId="{20CD0486-1742-412A-88C8-2A8C181117AE}" destId="{9D5F7959-E9A2-4AEA-9669-1B22392730F5}" srcOrd="1" destOrd="0" presId="urn:microsoft.com/office/officeart/2005/8/layout/vList5"/>
    <dgm:cxn modelId="{34147DDD-1A08-4BCD-AE34-343798A0B347}" type="presParOf" srcId="{5EA87217-8003-42F8-921E-773E702D2B04}" destId="{E42F5F5B-785C-4C26-A70E-5FFA71CFAB3B}" srcOrd="3" destOrd="0" presId="urn:microsoft.com/office/officeart/2005/8/layout/vList5"/>
    <dgm:cxn modelId="{4CF96D28-94B1-494D-9AAE-D9BD6C31B298}" type="presParOf" srcId="{5EA87217-8003-42F8-921E-773E702D2B04}" destId="{C1074DB7-04E5-4032-89A4-95C700083969}" srcOrd="4" destOrd="0" presId="urn:microsoft.com/office/officeart/2005/8/layout/vList5"/>
    <dgm:cxn modelId="{6E528FCF-5395-4C7C-B289-644E3BCDD8E5}" type="presParOf" srcId="{C1074DB7-04E5-4032-89A4-95C700083969}" destId="{8DE01CD8-C087-43DD-99BD-FD523B4F5919}" srcOrd="0" destOrd="0" presId="urn:microsoft.com/office/officeart/2005/8/layout/vList5"/>
    <dgm:cxn modelId="{C5DEC4B6-0320-4E0F-A94A-D6F27C622628}" type="presParOf" srcId="{C1074DB7-04E5-4032-89A4-95C700083969}" destId="{DD9FB6B3-426A-4B65-9B6B-2321EC96BC13}" srcOrd="1" destOrd="0" presId="urn:microsoft.com/office/officeart/2005/8/layout/vList5"/>
    <dgm:cxn modelId="{54AD2FA5-F078-4846-94A5-AEDB9E9FC75D}" type="presParOf" srcId="{5EA87217-8003-42F8-921E-773E702D2B04}" destId="{8E5B79DE-AACA-41F8-BC60-D948ADA7BA06}" srcOrd="5" destOrd="0" presId="urn:microsoft.com/office/officeart/2005/8/layout/vList5"/>
    <dgm:cxn modelId="{74585E6F-6BD2-47AB-AD68-D73145544CD9}" type="presParOf" srcId="{5EA87217-8003-42F8-921E-773E702D2B04}" destId="{CC6873B3-4555-4914-88B0-D6D79DB1B473}" srcOrd="6" destOrd="0" presId="urn:microsoft.com/office/officeart/2005/8/layout/vList5"/>
    <dgm:cxn modelId="{4DCFC585-FC00-40AD-AECC-2BFDD75CA0B0}" type="presParOf" srcId="{CC6873B3-4555-4914-88B0-D6D79DB1B473}" destId="{32328D53-2A8B-44CD-B78D-A667B28B52D8}" srcOrd="0" destOrd="0" presId="urn:microsoft.com/office/officeart/2005/8/layout/vList5"/>
    <dgm:cxn modelId="{9308C2A8-4528-4134-91A6-CBD07F99EE4F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SIS is on-premises</a:t>
          </a:r>
        </a:p>
      </dsp:txBody>
      <dsp:txXfrm>
        <a:off x="55465" y="57827"/>
        <a:ext cx="184940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3248372" y="20952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erv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license cos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st of installing / configuring</a:t>
          </a:r>
        </a:p>
      </dsp:txBody>
      <dsp:txXfrm rot="-5400000">
        <a:off x="1960333" y="1353363"/>
        <a:ext cx="344066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ny up-front costs</a:t>
          </a:r>
        </a:p>
      </dsp:txBody>
      <dsp:txXfrm>
        <a:off x="55465" y="1250836"/>
        <a:ext cx="184940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3248372" y="121396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intenanc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“electricity”</a:t>
          </a:r>
        </a:p>
      </dsp:txBody>
      <dsp:txXfrm rot="-5400000">
        <a:off x="1960333" y="2546372"/>
        <a:ext cx="344066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ot many running costs</a:t>
          </a:r>
        </a:p>
      </dsp:txBody>
      <dsp:txXfrm>
        <a:off x="55465" y="2443845"/>
        <a:ext cx="184940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3248372" y="240697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r how many tasks there are in a package</a:t>
          </a:r>
        </a:p>
      </dsp:txBody>
      <dsp:txXfrm rot="-5400000">
        <a:off x="1960333" y="3739382"/>
        <a:ext cx="344066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it doesn’t matter how many packages you run</a:t>
          </a:r>
        </a:p>
      </dsp:txBody>
      <dsp:txXfrm>
        <a:off x="55465" y="3636855"/>
        <a:ext cx="1849403" cy="10252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DF is in the cloud</a:t>
          </a:r>
        </a:p>
      </dsp:txBody>
      <dsp:txXfrm>
        <a:off x="55465" y="57827"/>
        <a:ext cx="171435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2993277" y="140997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ybe self-hosted I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no license costs</a:t>
          </a:r>
        </a:p>
      </dsp:txBody>
      <dsp:txXfrm rot="-5400000">
        <a:off x="1825283" y="1353363"/>
        <a:ext cx="320057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aaS: no up-front costs</a:t>
          </a:r>
        </a:p>
      </dsp:txBody>
      <dsp:txXfrm>
        <a:off x="55465" y="1250836"/>
        <a:ext cx="171435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2993277" y="133400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mpute cost per minut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</dsp:txBody>
      <dsp:txXfrm rot="-5400000">
        <a:off x="1825283" y="2546372"/>
        <a:ext cx="320057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any running costs</a:t>
          </a:r>
        </a:p>
      </dsp:txBody>
      <dsp:txXfrm>
        <a:off x="55465" y="2443845"/>
        <a:ext cx="171435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2993277" y="252701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nd how long they run</a:t>
          </a:r>
        </a:p>
      </dsp:txBody>
      <dsp:txXfrm rot="-5400000">
        <a:off x="1825283" y="3739382"/>
        <a:ext cx="320057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# of activities has significant impact</a:t>
          </a:r>
        </a:p>
      </dsp:txBody>
      <dsp:txXfrm>
        <a:off x="55465" y="3636855"/>
        <a:ext cx="1714353" cy="1025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5/12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838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76073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38428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08435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65760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6136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B84FB-EE96-0D67-F232-85408228F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CD1514-27DA-6836-9CAB-1133CAC82A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7E7489-FC5E-60AA-7DDC-2CD2CBE7D7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9CF40B-985F-4680-3DBD-5A5171EB5F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56737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28698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265855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18213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7445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693243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821968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517446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3941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765026675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0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08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65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39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42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2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17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06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342132393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569198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640127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4152766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9346163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226745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637300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683021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9316115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718478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100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71741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17957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167827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6417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793493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22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30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25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35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341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5820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67435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97187013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2/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538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8220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ags" Target="../tags/tag1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80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gif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fabric/data-factory/pricing-scenario-load-1-tb-parquet-to-data-warehous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Relationship Id="rId4" Type="http://schemas.openxmlformats.org/officeDocument/2006/relationships/hyperlink" Target="https://learn.microsoft.com/en-us/fabric/data-factory/pricing-overview#pricing-examples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9838110" cy="1903106"/>
          </a:xfrm>
        </p:spPr>
        <p:txBody>
          <a:bodyPr>
            <a:normAutofit fontScale="90000"/>
          </a:bodyPr>
          <a:lstStyle/>
          <a:p>
            <a:r>
              <a:rPr lang="en-US" dirty="0"/>
              <a:t>How I saved 80% on my Azure Data Factory Costs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5F9D5-22FB-5F32-696E-D1C2F105FD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5411" y="2447235"/>
            <a:ext cx="6471691" cy="26763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= control flow</a:t>
            </a:r>
            <a:endParaRPr lang="nl-B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E323FC5-B82A-7789-7DB8-5D7A70EDD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06" y="1213674"/>
            <a:ext cx="352201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65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A9C576-B38E-2928-92D5-FB216231E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838" y="1036758"/>
            <a:ext cx="2116015" cy="5672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23469-1037-CB58-7DE9-5FA7320E5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53" y="1061310"/>
            <a:ext cx="1748478" cy="563306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 = control flow tasks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0E920E-B860-23AF-CC7E-3C47DC5B09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1670" y="1602859"/>
            <a:ext cx="2019475" cy="43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26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0199DB-DC75-75C7-C88E-1212BEFD8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edence constraints?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2546-FE25-3AC7-EE56-4835ADF63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5" y="1818505"/>
            <a:ext cx="4582104" cy="2477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3A7D68-CFF5-5AF9-4E4E-95A4E0F87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041" y="3963385"/>
            <a:ext cx="7678881" cy="2477405"/>
          </a:xfrm>
          <a:prstGeom prst="rect">
            <a:avLst/>
          </a:prstGeom>
        </p:spPr>
      </p:pic>
      <p:pic>
        <p:nvPicPr>
          <p:cNvPr id="6" name="Picture 2" descr="yeah.... nope. - Willy Wonka | Meme Generator">
            <a:extLst>
              <a:ext uri="{FF2B5EF4-FFF2-40B4-BE49-F238E27FC236}">
                <a16:creationId xmlns:a16="http://schemas.microsoft.com/office/drawing/2014/main" id="{5D587167-E6BE-E636-619F-294BBDB60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761" y="52845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04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C387C8-A73F-55C0-731D-20E4A0AB4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py data activity = data flow with only source and dest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17E8C-EA4C-1695-37C5-B2E5FAB6F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" y="2057378"/>
            <a:ext cx="5806902" cy="38476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A953C6-B88B-AFAE-ECA2-33BAA05EB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5116" y="1420614"/>
            <a:ext cx="1920406" cy="4374259"/>
          </a:xfrm>
          <a:prstGeom prst="rect">
            <a:avLst/>
          </a:prstGeom>
        </p:spPr>
      </p:pic>
      <p:pic>
        <p:nvPicPr>
          <p:cNvPr id="1026" name="Picture 2" descr="State Province Name highlighted in the Data Viewer">
            <a:extLst>
              <a:ext uri="{FF2B5EF4-FFF2-40B4-BE49-F238E27FC236}">
                <a16:creationId xmlns:a16="http://schemas.microsoft.com/office/drawing/2014/main" id="{D34521AB-21CD-E9E5-BA49-6B8B84B9F2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324"/>
          <a:stretch>
            <a:fillRect/>
          </a:stretch>
        </p:blipFill>
        <p:spPr bwMode="auto">
          <a:xfrm>
            <a:off x="6513953" y="2307230"/>
            <a:ext cx="340122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002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797D2-6D97-C139-3ACB-7BE9816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  <a:p>
            <a:r>
              <a:rPr lang="en-US" sz="2800" dirty="0"/>
              <a:t>points to a certain data location</a:t>
            </a:r>
          </a:p>
          <a:p>
            <a:r>
              <a:rPr lang="en-US" sz="2800" dirty="0"/>
              <a:t>contains info on how to authenticate</a:t>
            </a:r>
          </a:p>
          <a:p>
            <a:r>
              <a:rPr lang="en-US" sz="2800" dirty="0"/>
              <a:t>can integrate with Azure Key Vault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4CAB5-BD1C-E2D4-80C6-808EA06EE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inked service =</a:t>
            </a:r>
            <a:br>
              <a:rPr lang="en-US" dirty="0"/>
            </a:br>
            <a:r>
              <a:rPr lang="en-US" dirty="0"/>
              <a:t>connection manage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34E800-8A81-4E9E-B617-D41F43573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456" y="0"/>
            <a:ext cx="435254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6F744D-CA11-2212-AEE1-8EC151DB35FB}"/>
              </a:ext>
            </a:extLst>
          </p:cNvPr>
          <p:cNvSpPr txBox="1"/>
          <p:nvPr/>
        </p:nvSpPr>
        <p:spPr>
          <a:xfrm>
            <a:off x="7834503" y="5243826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8367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F92BE-AF2B-B6AB-D3E0-1362BF515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309BF-DE88-29EB-FA4F-BAAECB6D1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209" y="1061749"/>
            <a:ext cx="8241792" cy="57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5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B4C691-894C-B80C-E24B-6DC6829D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F735C8-EE3D-F360-0F3A-ED6266C23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876848" y="1307115"/>
            <a:ext cx="7079999" cy="1144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63FDA4-7CC3-2F99-1FB2-B7BFECD4E3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876848" y="3675612"/>
            <a:ext cx="6981825" cy="11514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485F-7361-8D1A-7E71-3188D7F5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3717" y="2558408"/>
            <a:ext cx="7643522" cy="8458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C31B44-F46D-0439-B798-478AB4B0C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48" y="5213631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68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A24DF-2BB0-89B4-8214-67BD4C451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7126F-D515-AA15-DEA5-CEAB79C0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 anchor="b">
            <a:normAutofit/>
          </a:bodyPr>
          <a:lstStyle/>
          <a:p>
            <a:r>
              <a:rPr lang="en-US" dirty="0"/>
              <a:t>SSIS vs ADF</a:t>
            </a:r>
            <a:endParaRPr lang="nl-BE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4867992-5AA3-9A7A-C21D-2F3D23AF33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9129068"/>
              </p:ext>
            </p:extLst>
          </p:nvPr>
        </p:nvGraphicFramePr>
        <p:xfrm>
          <a:off x="563879" y="1457011"/>
          <a:ext cx="544537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75B093B-5E85-0F4B-DCC0-11A0995B92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287714"/>
              </p:ext>
            </p:extLst>
          </p:nvPr>
        </p:nvGraphicFramePr>
        <p:xfrm>
          <a:off x="6283571" y="1457011"/>
          <a:ext cx="507023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897805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19E55-2390-5B0D-C4B3-129542C97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5F073DA-B35A-214A-F669-765C466DB4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How to save on cost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D6F787EB-7778-5996-ABF4-67A2FFA2C6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176036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s in ADF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B8B6399-C507-195E-1086-EF4CC4A71D22}"/>
              </a:ext>
            </a:extLst>
          </p:cNvPr>
          <p:cNvGrpSpPr/>
          <p:nvPr/>
        </p:nvGrpSpPr>
        <p:grpSpPr>
          <a:xfrm>
            <a:off x="4806909" y="1262349"/>
            <a:ext cx="4233391" cy="4613526"/>
            <a:chOff x="4655127" y="1399347"/>
            <a:chExt cx="4233391" cy="4613526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55127" y="1399347"/>
              <a:ext cx="4233391" cy="4613526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A537246-FA26-7B77-C457-57686A1B4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600720" y="2055397"/>
              <a:ext cx="2186210" cy="21862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564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3147B3-5414-55BA-D9BE-E27BF1840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1087019" cy="956186"/>
          </a:xfrm>
        </p:spPr>
        <p:txBody>
          <a:bodyPr>
            <a:normAutofit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A22F78-74E7-4933-2061-062EA0B6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number of activiti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37047-D2E9-CA2C-25BA-DF6F6F91A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0825" y="1457011"/>
            <a:ext cx="7530349" cy="508908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3A44112-E11C-252B-7D0D-A6A7A52BF194}"/>
              </a:ext>
            </a:extLst>
          </p:cNvPr>
          <p:cNvCxnSpPr>
            <a:cxnSpLocks/>
          </p:cNvCxnSpPr>
          <p:nvPr/>
        </p:nvCxnSpPr>
        <p:spPr>
          <a:xfrm>
            <a:off x="3938016" y="2865120"/>
            <a:ext cx="1970648" cy="298704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06F306-2230-A10A-5DA8-E8EE7463F484}"/>
              </a:ext>
            </a:extLst>
          </p:cNvPr>
          <p:cNvSpPr txBox="1"/>
          <p:nvPr/>
        </p:nvSpPr>
        <p:spPr>
          <a:xfrm>
            <a:off x="1288219" y="4001555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irectly refer to lookup output instead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Delete Images – Browse 213,116 Stock Photos, Vectors, and Video | Adobe  Stock">
            <a:extLst>
              <a:ext uri="{FF2B5EF4-FFF2-40B4-BE49-F238E27FC236}">
                <a16:creationId xmlns:a16="http://schemas.microsoft.com/office/drawing/2014/main" id="{0FA0A3ED-4301-BF37-C76C-2502C28D8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745" y="1589398"/>
            <a:ext cx="1901838" cy="190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592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dirty="0"/>
              <a:t>Azure </a:t>
            </a:r>
            <a:r>
              <a:rPr lang="nl-BE" dirty="0" err="1"/>
              <a:t>Functions</a:t>
            </a:r>
            <a:r>
              <a:rPr lang="nl-BE" dirty="0"/>
              <a:t> or Azure Logic Apps 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pPr lvl="1"/>
            <a:r>
              <a:rPr lang="nl-BE" dirty="0" err="1"/>
              <a:t>for</a:t>
            </a:r>
            <a:r>
              <a:rPr lang="nl-BE" dirty="0"/>
              <a:t> smaller </a:t>
            </a:r>
            <a:r>
              <a:rPr lang="nl-BE" dirty="0" err="1"/>
              <a:t>workloads</a:t>
            </a:r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dirty="0" err="1"/>
              <a:t>self-hosted</a:t>
            </a:r>
            <a:r>
              <a:rPr lang="nl-BE" dirty="0"/>
              <a:t> IR in a V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0367691" cy="956186"/>
          </a:xfrm>
        </p:spPr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6757" y="1893022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3134982" y="2089713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62B69E-FBCC-2EF7-9829-299F91808D15}"/>
              </a:ext>
            </a:extLst>
          </p:cNvPr>
          <p:cNvSpPr txBox="1"/>
          <p:nvPr/>
        </p:nvSpPr>
        <p:spPr>
          <a:xfrm>
            <a:off x="8273668" y="5149422"/>
            <a:ext cx="30745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on’t forget your dev cost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748BAB-B9F3-A197-D2AF-022676818396}"/>
              </a:ext>
            </a:extLst>
          </p:cNvPr>
          <p:cNvSpPr txBox="1"/>
          <p:nvPr/>
        </p:nvSpPr>
        <p:spPr>
          <a:xfrm>
            <a:off x="5233012" y="5210978"/>
            <a:ext cx="3040656" cy="769441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CAUTION!</a:t>
            </a:r>
            <a:endParaRPr lang="en-BE" sz="4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35AEA8-EDB4-B209-8977-3C49EB9CB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757" y="981170"/>
            <a:ext cx="5401751" cy="48956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1BC905-6447-AE37-C6C6-D856DBD1A6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5083" y="1384203"/>
            <a:ext cx="5057274" cy="44926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E1925A-99FE-D88E-91E5-098FFA6E5AA9}"/>
              </a:ext>
            </a:extLst>
          </p:cNvPr>
          <p:cNvSpPr txBox="1"/>
          <p:nvPr/>
        </p:nvSpPr>
        <p:spPr>
          <a:xfrm>
            <a:off x="780182" y="30516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B3B50-01D9-CAF7-BF8D-63F7DF887625}"/>
              </a:ext>
            </a:extLst>
          </p:cNvPr>
          <p:cNvSpPr txBox="1"/>
          <p:nvPr/>
        </p:nvSpPr>
        <p:spPr>
          <a:xfrm>
            <a:off x="780182" y="50328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195CB9-42CF-EFF0-1D38-EB11F781ECBB}"/>
              </a:ext>
            </a:extLst>
          </p:cNvPr>
          <p:cNvSpPr txBox="1"/>
          <p:nvPr/>
        </p:nvSpPr>
        <p:spPr>
          <a:xfrm>
            <a:off x="6361184" y="3097116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A79B7B-B2C5-DD31-28F3-7E771E59A8A8}"/>
              </a:ext>
            </a:extLst>
          </p:cNvPr>
          <p:cNvSpPr txBox="1"/>
          <p:nvPr/>
        </p:nvSpPr>
        <p:spPr>
          <a:xfrm>
            <a:off x="6361184" y="5419843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29526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FDAA41-3C21-0A0D-078C-7A7D309B2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757" y="1457012"/>
            <a:ext cx="10515600" cy="4719952"/>
          </a:xfrm>
        </p:spPr>
        <p:txBody>
          <a:bodyPr/>
          <a:lstStyle/>
          <a:p>
            <a:r>
              <a:rPr lang="en-US" dirty="0"/>
              <a:t>If you already have the data in a database …</a:t>
            </a:r>
          </a:p>
          <a:p>
            <a:r>
              <a:rPr lang="en-US" dirty="0"/>
              <a:t>… you are paying twice for compute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95965A-1C3E-45FF-41CC-B4B8E0F87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flows?</a:t>
            </a:r>
            <a:endParaRPr lang="en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C8CB16-EB0E-5845-4633-5FD3996B5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807" y="271222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106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is ADF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F vs SSI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ow to save on cos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What about Fabric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0644A9F-335B-C50E-6614-5B9BB20DED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5D3ACC9-E02E-A4CA-E3EA-E6F3BC27FB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9ED178C-00AC-1006-46ED-51BD64F343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8CA8EC8-7418-45EF-B295-1A22508CD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6AFA9D-9A70-D4A7-4E6C-1E3CB76D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Cost Analysis</a:t>
            </a:r>
          </a:p>
          <a:p>
            <a:r>
              <a:rPr lang="en-US" dirty="0"/>
              <a:t>Or your billing report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F29F95-49CA-ED95-9415-ABBF9EF9C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insights in costs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98C7B6-EF2E-59C4-0759-F8A658977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086" y="2791446"/>
            <a:ext cx="6599492" cy="243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398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898A6-85CE-32DD-8370-A80ABA603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F59ADEBA-809A-08C3-94B3-64B9ED2F3B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5F85F909-1CAF-09BC-581C-4294F2BD7EF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3571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76EC569-1B26-1B3F-5C6B-5A17F43F7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uses CU consumption</a:t>
            </a:r>
            <a:endParaRPr lang="en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EFCA92C-E1C2-076B-645E-DA952A86A8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5483"/>
            <a:ext cx="10515600" cy="4719952"/>
          </a:xfrm>
        </p:spPr>
        <p:txBody>
          <a:bodyPr/>
          <a:lstStyle/>
          <a:p>
            <a:r>
              <a:rPr lang="en-US" dirty="0"/>
              <a:t>Only two types of activities:</a:t>
            </a:r>
          </a:p>
          <a:p>
            <a:pPr lvl="1"/>
            <a:r>
              <a:rPr lang="en-US" dirty="0"/>
              <a:t>Data movement – </a:t>
            </a:r>
            <a:r>
              <a:rPr lang="en-US" b="1" dirty="0"/>
              <a:t>1,5</a:t>
            </a:r>
            <a:r>
              <a:rPr lang="en-US" dirty="0"/>
              <a:t> CU hours</a:t>
            </a:r>
          </a:p>
          <a:p>
            <a:pPr lvl="1"/>
            <a:r>
              <a:rPr lang="en-US" dirty="0"/>
              <a:t>Data orchestration – 0,0056 CU hours per activity run</a:t>
            </a:r>
          </a:p>
          <a:p>
            <a:pPr lvl="1"/>
            <a:r>
              <a:rPr lang="en-US" dirty="0"/>
              <a:t>In </a:t>
            </a:r>
            <a:r>
              <a:rPr lang="en-US" dirty="0">
                <a:hlinkClick r:id="rId3"/>
              </a:rPr>
              <a:t>docs</a:t>
            </a:r>
            <a:r>
              <a:rPr lang="en-US" dirty="0"/>
              <a:t>, 1 CU hour = </a:t>
            </a:r>
            <a:r>
              <a:rPr lang="en-US" b="1" dirty="0"/>
              <a:t>$0,18</a:t>
            </a:r>
          </a:p>
          <a:p>
            <a:pPr lvl="1"/>
            <a:endParaRPr lang="en-US" dirty="0"/>
          </a:p>
          <a:p>
            <a:r>
              <a:rPr lang="en-US" dirty="0"/>
              <a:t>Copying 1TB of data to a warehouse</a:t>
            </a:r>
          </a:p>
          <a:p>
            <a:pPr lvl="1"/>
            <a:r>
              <a:rPr lang="en-US" dirty="0"/>
              <a:t>Takes about 11 minutes (662 seconds)</a:t>
            </a:r>
          </a:p>
          <a:p>
            <a:pPr lvl="1"/>
            <a:r>
              <a:rPr lang="en-US" dirty="0"/>
              <a:t>“intelligent throughput optimization” was 4</a:t>
            </a:r>
          </a:p>
          <a:p>
            <a:pPr lvl="1"/>
            <a:r>
              <a:rPr lang="en-US" dirty="0"/>
              <a:t>Utilized CU hours = 4 * 1,5 * (11/60) = 1,1 CU hours (or 3960 CU seconds)</a:t>
            </a:r>
          </a:p>
          <a:p>
            <a:pPr lvl="1"/>
            <a:r>
              <a:rPr lang="en-US" dirty="0"/>
              <a:t>1,1 CU hours * ($0,18 / CU hours) = $0,20</a:t>
            </a:r>
          </a:p>
          <a:p>
            <a:pPr lvl="1"/>
            <a:endParaRPr lang="en-US" dirty="0"/>
          </a:p>
          <a:p>
            <a:r>
              <a:rPr lang="en-US" dirty="0"/>
              <a:t>Check out the </a:t>
            </a:r>
            <a:r>
              <a:rPr lang="en-US" dirty="0">
                <a:hlinkClick r:id="rId4"/>
              </a:rPr>
              <a:t>pricing examples</a:t>
            </a:r>
            <a:r>
              <a:rPr lang="en-US" dirty="0"/>
              <a:t> (they are misleading though as they deal with only 1 copy activity)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2915728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55A14-F898-9C8A-2C43-202109686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F vs Fabric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46081F-46D3-E4EB-488F-9566506A4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In ADF, duration matters for all activities</a:t>
            </a:r>
          </a:p>
          <a:p>
            <a:r>
              <a:rPr lang="en-US" dirty="0"/>
              <a:t>In Fabric, duration only matters for copy data activity</a:t>
            </a:r>
          </a:p>
          <a:p>
            <a:endParaRPr lang="en-US" dirty="0"/>
          </a:p>
          <a:p>
            <a:r>
              <a:rPr lang="en-US" dirty="0"/>
              <a:t>Cost of the same pipeline</a:t>
            </a:r>
          </a:p>
          <a:p>
            <a:pPr lvl="1"/>
            <a:r>
              <a:rPr lang="en-US" dirty="0"/>
              <a:t>ADF </a:t>
            </a:r>
            <a:r>
              <a:rPr lang="en-US" b="1" dirty="0"/>
              <a:t>= </a:t>
            </a:r>
            <a:r>
              <a:rPr lang="en-US" b="1" dirty="0">
                <a:sym typeface="Wingdings" panose="05000000000000000000" pitchFamily="2" charset="2"/>
              </a:rPr>
              <a:t>$0,83335 per run </a:t>
            </a:r>
            <a:r>
              <a:rPr lang="en-US" dirty="0">
                <a:sym typeface="Wingdings" panose="05000000000000000000" pitchFamily="2" charset="2"/>
              </a:rPr>
              <a:t>(with default settings: </a:t>
            </a:r>
            <a:r>
              <a:rPr lang="en-US" b="1" dirty="0">
                <a:sym typeface="Wingdings" panose="05000000000000000000" pitchFamily="2" charset="2"/>
              </a:rPr>
              <a:t>$1,66 per run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Fabric = </a:t>
            </a:r>
            <a:r>
              <a:rPr lang="en-US" dirty="0"/>
              <a:t>36000 CUs = 10 CU hour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=&gt; 10 CU hour / (4 * 1,5) = 1,666667 hours (same as in ADF, thus 100 minutes)</a:t>
            </a:r>
            <a:br>
              <a:rPr lang="en-US" dirty="0"/>
            </a:br>
            <a:r>
              <a:rPr lang="en-US" dirty="0"/>
              <a:t>=&gt; 10 CU hour * ($0,18/CU hour) = </a:t>
            </a:r>
            <a:r>
              <a:rPr lang="en-US" b="1" dirty="0"/>
              <a:t>$1,8 per ru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Fabric is about 8% more expensive (keep in mind you pay for the capacity running)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4BE22F-2BD7-627C-3CE1-D27AE51F4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758" y="3883664"/>
            <a:ext cx="6617977" cy="125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45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DC25-4BBE-0376-0A54-3ED41D1D1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AEEA-3911-E5CE-F922-71918C73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DF is not a streaming service</a:t>
            </a:r>
          </a:p>
          <a:p>
            <a:r>
              <a:rPr lang="en-US" dirty="0"/>
              <a:t>you pay for each activity at least one minute</a:t>
            </a:r>
          </a:p>
          <a:p>
            <a:r>
              <a:rPr lang="en-US" dirty="0"/>
              <a:t>copy activity is the most expensive one</a:t>
            </a:r>
          </a:p>
          <a:p>
            <a:r>
              <a:rPr lang="en-US" dirty="0"/>
              <a:t>try to avoid managed VNET integration if it is not really needed</a:t>
            </a:r>
          </a:p>
          <a:p>
            <a:r>
              <a:rPr lang="en-US" dirty="0"/>
              <a:t>move compute to external options</a:t>
            </a:r>
          </a:p>
          <a:p>
            <a:pPr lvl="1"/>
            <a:r>
              <a:rPr lang="en-US" dirty="0"/>
              <a:t>Azure Functions &amp; Logic Apps</a:t>
            </a:r>
          </a:p>
          <a:p>
            <a:pPr lvl="1"/>
            <a:r>
              <a:rPr lang="en-US" dirty="0"/>
              <a:t>Databricks / SQL Server</a:t>
            </a:r>
          </a:p>
          <a:p>
            <a:endParaRPr lang="en-US" dirty="0"/>
          </a:p>
          <a:p>
            <a:r>
              <a:rPr lang="en-US" dirty="0"/>
              <a:t>running ADF yourself on a self-hosted IR might be cheaper</a:t>
            </a:r>
          </a:p>
          <a:p>
            <a:r>
              <a:rPr lang="en-US" dirty="0"/>
              <a:t>Fabric is about 8% more expensive</a:t>
            </a:r>
          </a:p>
          <a:p>
            <a:endParaRPr lang="en-US" dirty="0"/>
          </a:p>
          <a:p>
            <a:r>
              <a:rPr lang="en-US" dirty="0"/>
              <a:t>if you get ADF to be really cheap, you’re the most expensive part now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805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543" y="439583"/>
            <a:ext cx="7352475" cy="3301144"/>
          </a:xfrm>
        </p:spPr>
        <p:txBody>
          <a:bodyPr>
            <a:normAutofit/>
          </a:bodyPr>
          <a:lstStyle/>
          <a:p>
            <a:r>
              <a:rPr lang="en-US" sz="8000" dirty="0"/>
              <a:t> </a:t>
            </a:r>
            <a:r>
              <a:rPr lang="en-US" sz="16600" dirty="0"/>
              <a:t>thank</a:t>
            </a:r>
            <a:endParaRPr lang="nl-BE" sz="16600" dirty="0"/>
          </a:p>
        </p:txBody>
      </p:sp>
      <p:pic>
        <p:nvPicPr>
          <p:cNvPr id="3" name="Picture 2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5555B446-EC39-1480-29AA-74221F713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14" y="1716036"/>
            <a:ext cx="5527964" cy="552796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AC095C73-446D-8EC1-E4FC-B3CA2DB63DD4}"/>
              </a:ext>
            </a:extLst>
          </p:cNvPr>
          <p:cNvSpPr txBox="1">
            <a:spLocks/>
          </p:cNvSpPr>
          <p:nvPr/>
        </p:nvSpPr>
        <p:spPr>
          <a:xfrm>
            <a:off x="812468" y="1813069"/>
            <a:ext cx="7352475" cy="33011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GB" sz="6000" b="1" i="0" kern="1200">
                <a:solidFill>
                  <a:schemeClr val="bg1"/>
                </a:solidFill>
                <a:latin typeface="IBM Plex Sans" panose="020B0503050203000203" pitchFamily="34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600" dirty="0"/>
              <a:t>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AAD0C2A-109D-F08B-F87B-F2A66F31F6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is ADF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E0D67705-DD3F-1399-3974-A6DE5A3EFA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70352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F70E06-AAE2-628F-9399-F7EEA466B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5998"/>
            <a:ext cx="10515600" cy="2826004"/>
          </a:xfrm>
        </p:spPr>
        <p:txBody>
          <a:bodyPr/>
          <a:lstStyle/>
          <a:p>
            <a:pPr marL="0" indent="0">
              <a:buNone/>
            </a:pP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2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5B99F1-6468-140F-881C-84DBB74D0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ally a cloud ELT orchestrator</a:t>
            </a:r>
            <a:endParaRPr lang="en-B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D21935A-579F-9B45-C06C-10844E827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69" y="1620201"/>
            <a:ext cx="10861861" cy="449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01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644A2-4C8F-D5AE-CF34-ED14E08EB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ETL?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7A4340-E265-43D1-266A-AFC0762D79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transformation options in ADF</a:t>
            </a:r>
          </a:p>
          <a:p>
            <a:pPr lvl="1"/>
            <a:r>
              <a:rPr lang="en-US" dirty="0"/>
              <a:t>Which we can ignore </a:t>
            </a:r>
            <a:r>
              <a:rPr lang="en-US" dirty="0">
                <a:sym typeface="Wingdings" panose="05000000000000000000" pitchFamily="2" charset="2"/>
              </a:rPr>
              <a:t>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flows (aka mapp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Visual layer on top of Spark runtime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Power Query (aka wrangl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Like Power BI/Fabric dataflows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BAA86B-28E0-DE01-9F34-4F1DD084C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9880" y="1457011"/>
            <a:ext cx="2773920" cy="24157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37B3C3-FAEF-A29D-16CD-3A2871AD7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6984" y="3816987"/>
            <a:ext cx="9656816" cy="12356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1E3031-3A4C-DD2B-ABEE-B372C8AAD8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118" y="4001330"/>
            <a:ext cx="4799682" cy="241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19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1EC0D-4C0A-98CC-FBF9-E881D0167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types of activity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4C9BF-0454-1164-5630-981A45B93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ata Movement </a:t>
            </a:r>
            <a:r>
              <a:rPr lang="en-US" dirty="0"/>
              <a:t>activities</a:t>
            </a:r>
          </a:p>
          <a:p>
            <a:pPr lvl="1"/>
            <a:r>
              <a:rPr lang="en-US" dirty="0"/>
              <a:t>Basically the Copy Data activity</a:t>
            </a:r>
          </a:p>
          <a:p>
            <a:pPr lvl="1"/>
            <a:r>
              <a:rPr lang="en-US" dirty="0"/>
              <a:t>Data is copied using Azure compute</a:t>
            </a:r>
          </a:p>
          <a:p>
            <a:endParaRPr lang="en-US" dirty="0"/>
          </a:p>
          <a:p>
            <a:r>
              <a:rPr lang="en-US" b="1" dirty="0"/>
              <a:t>External</a:t>
            </a:r>
            <a:r>
              <a:rPr lang="en-US" dirty="0"/>
              <a:t> (transformation) activities</a:t>
            </a:r>
          </a:p>
          <a:p>
            <a:pPr lvl="1"/>
            <a:r>
              <a:rPr lang="en-US" dirty="0"/>
              <a:t>Compute is not in ADF</a:t>
            </a:r>
          </a:p>
          <a:p>
            <a:pPr lvl="1"/>
            <a:r>
              <a:rPr lang="en-US" dirty="0"/>
              <a:t>E.g. stored procedure, Pig Script,</a:t>
            </a:r>
            <a:br>
              <a:rPr lang="en-US" dirty="0"/>
            </a:br>
            <a:r>
              <a:rPr lang="en-US" dirty="0"/>
              <a:t>Databricks Notebook, Azure Function …</a:t>
            </a:r>
          </a:p>
          <a:p>
            <a:pPr lvl="1"/>
            <a:endParaRPr lang="en-US" dirty="0"/>
          </a:p>
          <a:p>
            <a:r>
              <a:rPr lang="en-US" b="1" dirty="0"/>
              <a:t>Pipeline </a:t>
            </a:r>
            <a:r>
              <a:rPr lang="en-US" dirty="0"/>
              <a:t>(control flow) activities</a:t>
            </a:r>
          </a:p>
          <a:p>
            <a:pPr lvl="1"/>
            <a:r>
              <a:rPr lang="en-US" dirty="0"/>
              <a:t>Lightweight “internal” activities</a:t>
            </a:r>
          </a:p>
          <a:p>
            <a:pPr lvl="1"/>
            <a:r>
              <a:rPr lang="en-US" dirty="0"/>
              <a:t>E.g. Lookup, Set Variable, For Each, If condition …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579687-7E88-D57B-6391-E156C20F1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6264" y="1457011"/>
            <a:ext cx="1859441" cy="11735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E8D3C1-FCA5-4DB4-F2A6-C84C6F687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9441" y="3329968"/>
            <a:ext cx="5174255" cy="940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438347-DDDF-7256-0353-AC8B0C187D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2367" y="4706466"/>
            <a:ext cx="3811206" cy="168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37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74F7-CA08-62E5-1A40-C288CE7E7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6F2A078-1973-E0FF-7CF1-F8D5A29713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F vs SSI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321CD674-1742-184E-0497-79FCE261AD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5933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10789</TotalTime>
  <Words>926</Words>
  <Application>Microsoft Office PowerPoint</Application>
  <PresentationFormat>Widescreen</PresentationFormat>
  <Paragraphs>185</Paragraphs>
  <Slides>3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Arial</vt:lpstr>
      <vt:lpstr>Calibri</vt:lpstr>
      <vt:lpstr>Century Gothic</vt:lpstr>
      <vt:lpstr>Century Gothic Bold</vt:lpstr>
      <vt:lpstr>Helvetica Neue</vt:lpstr>
      <vt:lpstr>IBM Plex Sans</vt:lpstr>
      <vt:lpstr>Wingdings</vt:lpstr>
      <vt:lpstr>AE Template</vt:lpstr>
      <vt:lpstr>1_AE Template</vt:lpstr>
      <vt:lpstr>think-cell Slide</vt:lpstr>
      <vt:lpstr>How I saved 80% on my Azure Data Factory Costs</vt:lpstr>
      <vt:lpstr>Contact</vt:lpstr>
      <vt:lpstr>Outline</vt:lpstr>
      <vt:lpstr>What is ADF?</vt:lpstr>
      <vt:lpstr>PowerPoint Presentation</vt:lpstr>
      <vt:lpstr>Basically a cloud ELT orchestrator</vt:lpstr>
      <vt:lpstr>What about ETL?</vt:lpstr>
      <vt:lpstr>Three types of activity</vt:lpstr>
      <vt:lpstr>ADF vs SSIS</vt:lpstr>
      <vt:lpstr>pipeline = control flow</vt:lpstr>
      <vt:lpstr>activities = control flow tasks</vt:lpstr>
      <vt:lpstr>precedence constraints?</vt:lpstr>
      <vt:lpstr>copy data activity = data flow with only source and destination</vt:lpstr>
      <vt:lpstr>linked service = connection manager</vt:lpstr>
      <vt:lpstr>data set</vt:lpstr>
      <vt:lpstr>integration runtimes</vt:lpstr>
      <vt:lpstr>SSIS vs ADF</vt:lpstr>
      <vt:lpstr>How to save on costs</vt:lpstr>
      <vt:lpstr>costs in ADF</vt:lpstr>
      <vt:lpstr>important to remember</vt:lpstr>
      <vt:lpstr>that’s 2 minutes right there</vt:lpstr>
      <vt:lpstr>example</vt:lpstr>
      <vt:lpstr>example</vt:lpstr>
      <vt:lpstr>50% cost saving with one single config</vt:lpstr>
      <vt:lpstr>minimize number of activities</vt:lpstr>
      <vt:lpstr>move compute to somewhere else</vt:lpstr>
      <vt:lpstr>Azure Functions</vt:lpstr>
      <vt:lpstr>PowerPoint Presentation</vt:lpstr>
      <vt:lpstr>Dataflows?</vt:lpstr>
      <vt:lpstr>Get insights in costs</vt:lpstr>
      <vt:lpstr>What about Fabric?</vt:lpstr>
      <vt:lpstr>Fabric uses CU consumption</vt:lpstr>
      <vt:lpstr>ADF vs Fabric</vt:lpstr>
      <vt:lpstr>  conclusion</vt:lpstr>
      <vt:lpstr>conclusion</vt:lpstr>
      <vt:lpstr> thank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30</cp:revision>
  <dcterms:created xsi:type="dcterms:W3CDTF">2022-08-23T10:53:58Z</dcterms:created>
  <dcterms:modified xsi:type="dcterms:W3CDTF">2025-12-05T14:30:51Z</dcterms:modified>
</cp:coreProperties>
</file>